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0"/>
  </p:notesMasterIdLst>
  <p:handoutMasterIdLst>
    <p:handoutMasterId r:id="rId31"/>
  </p:handoutMasterIdLst>
  <p:sldIdLst>
    <p:sldId id="296" r:id="rId6"/>
    <p:sldId id="293" r:id="rId7"/>
    <p:sldId id="257" r:id="rId8"/>
    <p:sldId id="297" r:id="rId9"/>
    <p:sldId id="303" r:id="rId10"/>
    <p:sldId id="304" r:id="rId11"/>
    <p:sldId id="305" r:id="rId12"/>
    <p:sldId id="263" r:id="rId13"/>
    <p:sldId id="298" r:id="rId14"/>
    <p:sldId id="299" r:id="rId15"/>
    <p:sldId id="306" r:id="rId16"/>
    <p:sldId id="268" r:id="rId17"/>
    <p:sldId id="300" r:id="rId18"/>
    <p:sldId id="302" r:id="rId19"/>
    <p:sldId id="269" r:id="rId20"/>
    <p:sldId id="307" r:id="rId21"/>
    <p:sldId id="308" r:id="rId22"/>
    <p:sldId id="309" r:id="rId23"/>
    <p:sldId id="317" r:id="rId24"/>
    <p:sldId id="318" r:id="rId25"/>
    <p:sldId id="291" r:id="rId26"/>
    <p:sldId id="292" r:id="rId27"/>
    <p:sldId id="314" r:id="rId28"/>
    <p:sldId id="316" r:id="rId29"/>
  </p:sldIdLst>
  <p:sldSz cx="12188825" cy="6858000"/>
  <p:notesSz cx="6858000" cy="9296400"/>
  <p:embeddedFontLst>
    <p:embeddedFont>
      <p:font typeface="Segoe UI Light" panose="020B0502040204020203" pitchFamily="34" charset="0"/>
      <p:regular r:id="rId32"/>
      <p:italic r:id="rId33"/>
    </p:embeddedFont>
    <p:embeddedFont>
      <p:font typeface="Segoe UI" panose="020B0502040204020203" pitchFamily="34" charset="0"/>
      <p:regular r:id="rId34"/>
      <p:bold r:id="rId35"/>
      <p:italic r:id="rId36"/>
      <p:boldItalic r:id="rId37"/>
    </p:embeddedFont>
    <p:embeddedFont>
      <p:font typeface="Consolas" panose="020B0609020204030204" pitchFamily="49" charset="0"/>
      <p:regular r:id="rId38"/>
      <p:bold r:id="rId39"/>
      <p:italic r:id="rId40"/>
      <p:boldItalic r:id="rId41"/>
    </p:embeddedFont>
    <p:embeddedFont>
      <p:font typeface="Segoe Light" panose="020B0604020202020204" charset="0"/>
      <p:regular r:id="rId42"/>
      <p:italic r:id="rId43"/>
    </p:embeddedFont>
  </p:embeddedFontLst>
  <p:custDataLst>
    <p:tags r:id="rId4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57755" autoAdjust="0"/>
  </p:normalViewPr>
  <p:slideViewPr>
    <p:cSldViewPr snapToGrid="0">
      <p:cViewPr varScale="1">
        <p:scale>
          <a:sx n="63" d="100"/>
          <a:sy n="63" d="100"/>
        </p:scale>
        <p:origin x="84" y="15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C18888-E6B3-4A3F-945F-46D62E3C85D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0C4A85A-E702-4E8E-9447-5AC9E2688E93}">
      <dgm:prSet phldrT="[Text]"/>
      <dgm:spPr/>
      <dgm:t>
        <a:bodyPr/>
        <a:lstStyle/>
        <a:p>
          <a:r>
            <a:rPr lang="en-US" dirty="0" smtClean="0"/>
            <a:t>WCF</a:t>
          </a:r>
          <a:endParaRPr lang="en-US" dirty="0"/>
        </a:p>
      </dgm:t>
    </dgm:pt>
    <dgm:pt modelId="{4D41E08F-0657-44AC-983B-81671FD0F257}" type="parTrans" cxnId="{FD9CAA52-82D7-493B-9D9C-0E901BFC91FD}">
      <dgm:prSet/>
      <dgm:spPr/>
      <dgm:t>
        <a:bodyPr/>
        <a:lstStyle/>
        <a:p>
          <a:endParaRPr lang="en-US"/>
        </a:p>
      </dgm:t>
    </dgm:pt>
    <dgm:pt modelId="{79323907-8858-4F49-B7B4-5B051247075B}" type="sibTrans" cxnId="{FD9CAA52-82D7-493B-9D9C-0E901BFC91FD}">
      <dgm:prSet/>
      <dgm:spPr/>
      <dgm:t>
        <a:bodyPr/>
        <a:lstStyle/>
        <a:p>
          <a:endParaRPr lang="en-US"/>
        </a:p>
      </dgm:t>
    </dgm:pt>
    <dgm:pt modelId="{947EF703-BCB5-429B-A365-C1D3BBCB8891}">
      <dgm:prSet phldrT="[Text]"/>
      <dgm:spPr/>
      <dgm:t>
        <a:bodyPr/>
        <a:lstStyle/>
        <a:p>
          <a:r>
            <a:rPr lang="en-US" dirty="0" smtClean="0"/>
            <a:t>Back-end Services</a:t>
          </a:r>
          <a:endParaRPr lang="en-US" dirty="0"/>
        </a:p>
      </dgm:t>
    </dgm:pt>
    <dgm:pt modelId="{CE1224C9-71D3-42B3-8BB9-3DA65496B81D}" type="parTrans" cxnId="{77C542A1-BA68-4EFB-BAC4-9D70FF84BCAB}">
      <dgm:prSet/>
      <dgm:spPr/>
      <dgm:t>
        <a:bodyPr/>
        <a:lstStyle/>
        <a:p>
          <a:endParaRPr lang="en-US"/>
        </a:p>
      </dgm:t>
    </dgm:pt>
    <dgm:pt modelId="{C473EAB2-66C4-4030-9FD7-E8B3D2D3E022}" type="sibTrans" cxnId="{77C542A1-BA68-4EFB-BAC4-9D70FF84BCAB}">
      <dgm:prSet/>
      <dgm:spPr/>
      <dgm:t>
        <a:bodyPr/>
        <a:lstStyle/>
        <a:p>
          <a:endParaRPr lang="en-US"/>
        </a:p>
      </dgm:t>
    </dgm:pt>
    <dgm:pt modelId="{418E581D-4D33-4D1C-8617-3D39338A2D02}">
      <dgm:prSet phldrT="[Text]"/>
      <dgm:spPr/>
      <dgm:t>
        <a:bodyPr/>
        <a:lstStyle/>
        <a:p>
          <a:r>
            <a:rPr lang="en-US" dirty="0" smtClean="0"/>
            <a:t>SOAP, WS-*</a:t>
          </a:r>
          <a:endParaRPr lang="en-US" dirty="0"/>
        </a:p>
      </dgm:t>
    </dgm:pt>
    <dgm:pt modelId="{00FF94DD-E3B6-4DE2-B951-EC68F2BBDDBF}" type="parTrans" cxnId="{FC6E8F75-8D41-4652-802A-E6EA649A0538}">
      <dgm:prSet/>
      <dgm:spPr/>
      <dgm:t>
        <a:bodyPr/>
        <a:lstStyle/>
        <a:p>
          <a:endParaRPr lang="en-US"/>
        </a:p>
      </dgm:t>
    </dgm:pt>
    <dgm:pt modelId="{75882FDE-E0A6-40D5-8D7D-8A9958B97388}" type="sibTrans" cxnId="{FC6E8F75-8D41-4652-802A-E6EA649A0538}">
      <dgm:prSet/>
      <dgm:spPr/>
      <dgm:t>
        <a:bodyPr/>
        <a:lstStyle/>
        <a:p>
          <a:endParaRPr lang="en-US"/>
        </a:p>
      </dgm:t>
    </dgm:pt>
    <dgm:pt modelId="{91749CC0-3C52-4EF3-A6F1-13A55A766978}">
      <dgm:prSet phldrT="[Text]"/>
      <dgm:spPr/>
      <dgm:t>
        <a:bodyPr/>
        <a:lstStyle/>
        <a:p>
          <a:r>
            <a:rPr lang="en-US" dirty="0" smtClean="0"/>
            <a:t>ASP.NET Web API</a:t>
          </a:r>
          <a:endParaRPr lang="en-US" dirty="0"/>
        </a:p>
      </dgm:t>
    </dgm:pt>
    <dgm:pt modelId="{036D4F46-38B1-496E-9951-D70F7AA21544}" type="parTrans" cxnId="{AE08A043-CDE3-4289-9718-1F724EB0CD12}">
      <dgm:prSet/>
      <dgm:spPr/>
      <dgm:t>
        <a:bodyPr/>
        <a:lstStyle/>
        <a:p>
          <a:endParaRPr lang="en-US"/>
        </a:p>
      </dgm:t>
    </dgm:pt>
    <dgm:pt modelId="{FB9BA4AF-673A-4517-9444-4BCF97DB0F3F}" type="sibTrans" cxnId="{AE08A043-CDE3-4289-9718-1F724EB0CD12}">
      <dgm:prSet/>
      <dgm:spPr/>
      <dgm:t>
        <a:bodyPr/>
        <a:lstStyle/>
        <a:p>
          <a:endParaRPr lang="en-US"/>
        </a:p>
      </dgm:t>
    </dgm:pt>
    <dgm:pt modelId="{9F17B568-3C34-45ED-A463-5B7BAA9AC5B2}">
      <dgm:prSet phldrT="[Text]"/>
      <dgm:spPr/>
      <dgm:t>
        <a:bodyPr/>
        <a:lstStyle/>
        <a:p>
          <a:r>
            <a:rPr lang="en-US" dirty="0" smtClean="0"/>
            <a:t>Front-end Services</a:t>
          </a:r>
          <a:endParaRPr lang="en-US" dirty="0"/>
        </a:p>
      </dgm:t>
    </dgm:pt>
    <dgm:pt modelId="{CD39A284-CFAC-4D13-97E6-D48FD951B35E}" type="parTrans" cxnId="{9BDB124F-8D93-4EF6-87C1-8B865D70A1E4}">
      <dgm:prSet/>
      <dgm:spPr/>
      <dgm:t>
        <a:bodyPr/>
        <a:lstStyle/>
        <a:p>
          <a:endParaRPr lang="en-US"/>
        </a:p>
      </dgm:t>
    </dgm:pt>
    <dgm:pt modelId="{ED5F0BE5-F7B4-4A15-B1DB-FC304E290A33}" type="sibTrans" cxnId="{9BDB124F-8D93-4EF6-87C1-8B865D70A1E4}">
      <dgm:prSet/>
      <dgm:spPr/>
      <dgm:t>
        <a:bodyPr/>
        <a:lstStyle/>
        <a:p>
          <a:endParaRPr lang="en-US"/>
        </a:p>
      </dgm:t>
    </dgm:pt>
    <dgm:pt modelId="{1E308909-3458-4AFB-A2C7-D83858B4DFB6}">
      <dgm:prSet phldrT="[Text]"/>
      <dgm:spPr/>
      <dgm:t>
        <a:bodyPr/>
        <a:lstStyle/>
        <a:p>
          <a:r>
            <a:rPr lang="en-US" dirty="0" smtClean="0"/>
            <a:t>Media Types: JSON, XML, form-URL-encoded, custom</a:t>
          </a:r>
          <a:endParaRPr lang="en-US" dirty="0"/>
        </a:p>
      </dgm:t>
    </dgm:pt>
    <dgm:pt modelId="{6D85FC7D-F921-4876-ABB8-4EB0143E9F21}" type="parTrans" cxnId="{60B2724E-E73A-48A4-9B8E-3AD1E95D5271}">
      <dgm:prSet/>
      <dgm:spPr/>
      <dgm:t>
        <a:bodyPr/>
        <a:lstStyle/>
        <a:p>
          <a:endParaRPr lang="en-US"/>
        </a:p>
      </dgm:t>
    </dgm:pt>
    <dgm:pt modelId="{D2983B7B-5AF6-4B1E-B755-BF661F0FFF35}" type="sibTrans" cxnId="{60B2724E-E73A-48A4-9B8E-3AD1E95D5271}">
      <dgm:prSet/>
      <dgm:spPr/>
      <dgm:t>
        <a:bodyPr/>
        <a:lstStyle/>
        <a:p>
          <a:endParaRPr lang="en-US"/>
        </a:p>
      </dgm:t>
    </dgm:pt>
    <dgm:pt modelId="{0E2295DA-C222-4357-9DE0-3A4D5D69BB46}">
      <dgm:prSet phldrT="[Text]"/>
      <dgm:spPr/>
      <dgm:t>
        <a:bodyPr/>
        <a:lstStyle/>
        <a:p>
          <a:r>
            <a:rPr lang="en-US" dirty="0" smtClean="0"/>
            <a:t>Transports: HTTP, TCP, UDP, Queues, </a:t>
          </a:r>
          <a:r>
            <a:rPr lang="en-US" dirty="0" err="1" smtClean="0"/>
            <a:t>WebSockets</a:t>
          </a:r>
          <a:r>
            <a:rPr lang="en-US" dirty="0" smtClean="0"/>
            <a:t>, custom</a:t>
          </a:r>
          <a:endParaRPr lang="en-US" dirty="0"/>
        </a:p>
      </dgm:t>
    </dgm:pt>
    <dgm:pt modelId="{129FAEC2-A513-4C65-92EB-5461CB2BD132}" type="parTrans" cxnId="{0C52D2A6-4236-4F76-8196-2B9DAA5A46A4}">
      <dgm:prSet/>
      <dgm:spPr/>
      <dgm:t>
        <a:bodyPr/>
        <a:lstStyle/>
        <a:p>
          <a:endParaRPr lang="en-US"/>
        </a:p>
      </dgm:t>
    </dgm:pt>
    <dgm:pt modelId="{BD5E5961-1A95-44A0-AA01-5AB0EF2B9CFA}" type="sibTrans" cxnId="{0C52D2A6-4236-4F76-8196-2B9DAA5A46A4}">
      <dgm:prSet/>
      <dgm:spPr/>
      <dgm:t>
        <a:bodyPr/>
        <a:lstStyle/>
        <a:p>
          <a:endParaRPr lang="en-US"/>
        </a:p>
      </dgm:t>
    </dgm:pt>
    <dgm:pt modelId="{22428B5E-4E48-4035-AFCD-518E49C6A393}">
      <dgm:prSet phldrT="[Text]"/>
      <dgm:spPr/>
      <dgm:t>
        <a:bodyPr/>
        <a:lstStyle/>
        <a:p>
          <a:r>
            <a:rPr lang="en-US" dirty="0" smtClean="0"/>
            <a:t>Message patterns: request-reply, one-way, duplex</a:t>
          </a:r>
          <a:endParaRPr lang="en-US" dirty="0"/>
        </a:p>
      </dgm:t>
    </dgm:pt>
    <dgm:pt modelId="{543E335F-4F36-4A80-A3E8-009DC0C04C78}" type="parTrans" cxnId="{DECCA291-2F79-4239-A721-F8171422C5EC}">
      <dgm:prSet/>
      <dgm:spPr/>
      <dgm:t>
        <a:bodyPr/>
        <a:lstStyle/>
        <a:p>
          <a:endParaRPr lang="en-US"/>
        </a:p>
      </dgm:t>
    </dgm:pt>
    <dgm:pt modelId="{363C7E6F-AD7A-466A-8DFF-172FD6232AF6}" type="sibTrans" cxnId="{DECCA291-2F79-4239-A721-F8171422C5EC}">
      <dgm:prSet/>
      <dgm:spPr/>
      <dgm:t>
        <a:bodyPr/>
        <a:lstStyle/>
        <a:p>
          <a:endParaRPr lang="en-US"/>
        </a:p>
      </dgm:t>
    </dgm:pt>
    <dgm:pt modelId="{D6EDBDD1-686E-41B7-B79B-13D35C4D7776}">
      <dgm:prSet phldrT="[Text]"/>
      <dgm:spPr/>
      <dgm:t>
        <a:bodyPr/>
        <a:lstStyle/>
        <a:p>
          <a:r>
            <a:rPr lang="en-US" dirty="0" smtClean="0"/>
            <a:t>Use WCF Web HTTP to add HTTP endpoints to existing WCF services</a:t>
          </a:r>
          <a:endParaRPr lang="en-US" dirty="0"/>
        </a:p>
      </dgm:t>
    </dgm:pt>
    <dgm:pt modelId="{8630CBB8-F8A3-4EF1-A9E1-C96798F4CFE8}" type="parTrans" cxnId="{D8BED489-B8D9-4BEA-8B55-42A8BF514432}">
      <dgm:prSet/>
      <dgm:spPr/>
      <dgm:t>
        <a:bodyPr/>
        <a:lstStyle/>
        <a:p>
          <a:endParaRPr lang="en-US"/>
        </a:p>
      </dgm:t>
    </dgm:pt>
    <dgm:pt modelId="{13E80E52-65D4-473D-8D6D-7D1E42A6A95D}" type="sibTrans" cxnId="{D8BED489-B8D9-4BEA-8B55-42A8BF514432}">
      <dgm:prSet/>
      <dgm:spPr/>
      <dgm:t>
        <a:bodyPr/>
        <a:lstStyle/>
        <a:p>
          <a:endParaRPr lang="en-US"/>
        </a:p>
      </dgm:t>
    </dgm:pt>
    <dgm:pt modelId="{E1662A7E-04FF-42B4-A97C-CC5B741006FA}">
      <dgm:prSet phldrT="[Text]"/>
      <dgm:spPr/>
      <dgm:t>
        <a:bodyPr/>
        <a:lstStyle/>
        <a:p>
          <a:r>
            <a:rPr lang="en-US" dirty="0" smtClean="0"/>
            <a:t>Use WCF Data Services for full </a:t>
          </a:r>
          <a:r>
            <a:rPr lang="en-US" dirty="0" err="1" smtClean="0"/>
            <a:t>OData</a:t>
          </a:r>
          <a:r>
            <a:rPr lang="en-US" dirty="0" smtClean="0"/>
            <a:t> support</a:t>
          </a:r>
          <a:endParaRPr lang="en-US" dirty="0"/>
        </a:p>
      </dgm:t>
    </dgm:pt>
    <dgm:pt modelId="{41D0A000-A944-47DA-9E8D-A7693EAC4EA5}" type="parTrans" cxnId="{C358707F-B9E4-4E80-9324-C74C16E0C214}">
      <dgm:prSet/>
      <dgm:spPr/>
      <dgm:t>
        <a:bodyPr/>
        <a:lstStyle/>
        <a:p>
          <a:endParaRPr lang="en-US"/>
        </a:p>
      </dgm:t>
    </dgm:pt>
    <dgm:pt modelId="{8278A8A6-59EF-4F4C-A1B6-1120D1EC2E42}" type="sibTrans" cxnId="{C358707F-B9E4-4E80-9324-C74C16E0C214}">
      <dgm:prSet/>
      <dgm:spPr/>
      <dgm:t>
        <a:bodyPr/>
        <a:lstStyle/>
        <a:p>
          <a:endParaRPr lang="en-US"/>
        </a:p>
      </dgm:t>
    </dgm:pt>
    <dgm:pt modelId="{F016B6E0-7631-403F-994D-767520C00FF6}">
      <dgm:prSet phldrT="[Text]"/>
      <dgm:spPr/>
      <dgm:t>
        <a:bodyPr/>
        <a:lstStyle/>
        <a:p>
          <a:r>
            <a:rPr lang="en-US" dirty="0" smtClean="0"/>
            <a:t>HTTP only</a:t>
          </a:r>
          <a:endParaRPr lang="en-US" dirty="0"/>
        </a:p>
      </dgm:t>
    </dgm:pt>
    <dgm:pt modelId="{2D12CAE3-AFA4-4BCF-9C46-30A5159A50F3}" type="parTrans" cxnId="{4281BBA6-6DBC-4705-BC3A-99E1228A114B}">
      <dgm:prSet/>
      <dgm:spPr/>
      <dgm:t>
        <a:bodyPr/>
        <a:lstStyle/>
        <a:p>
          <a:endParaRPr lang="en-US"/>
        </a:p>
      </dgm:t>
    </dgm:pt>
    <dgm:pt modelId="{6026073D-37B9-4916-922A-142DD2670D9B}" type="sibTrans" cxnId="{4281BBA6-6DBC-4705-BC3A-99E1228A114B}">
      <dgm:prSet/>
      <dgm:spPr/>
      <dgm:t>
        <a:bodyPr/>
        <a:lstStyle/>
        <a:p>
          <a:endParaRPr lang="en-US"/>
        </a:p>
      </dgm:t>
    </dgm:pt>
    <dgm:pt modelId="{5BA3DD9C-73CD-49C5-81DE-88DE0C5B24C3}">
      <dgm:prSet phldrT="[Text]"/>
      <dgm:spPr/>
      <dgm:t>
        <a:bodyPr/>
        <a:lstStyle/>
        <a:p>
          <a:r>
            <a:rPr lang="en-US" dirty="0" smtClean="0"/>
            <a:t>Request-reply only</a:t>
          </a:r>
          <a:endParaRPr lang="en-US" dirty="0"/>
        </a:p>
      </dgm:t>
    </dgm:pt>
    <dgm:pt modelId="{6C7F887F-D91A-43D2-90FE-8C8F0805935D}" type="parTrans" cxnId="{A80F809C-57D2-4EB9-A448-2893662E89BF}">
      <dgm:prSet/>
      <dgm:spPr/>
      <dgm:t>
        <a:bodyPr/>
        <a:lstStyle/>
        <a:p>
          <a:endParaRPr lang="en-US"/>
        </a:p>
      </dgm:t>
    </dgm:pt>
    <dgm:pt modelId="{9292A80B-E2C2-4850-9473-855E6F8DDF6C}" type="sibTrans" cxnId="{A80F809C-57D2-4EB9-A448-2893662E89BF}">
      <dgm:prSet/>
      <dgm:spPr/>
      <dgm:t>
        <a:bodyPr/>
        <a:lstStyle/>
        <a:p>
          <a:endParaRPr lang="en-US"/>
        </a:p>
      </dgm:t>
    </dgm:pt>
    <dgm:pt modelId="{A616F9A7-C32B-4CA8-94D0-1A02A9016BF7}">
      <dgm:prSet phldrT="[Text]"/>
      <dgm:spPr/>
      <dgm:t>
        <a:bodyPr/>
        <a:lstStyle/>
        <a:p>
          <a:r>
            <a:rPr lang="en-US" dirty="0" smtClean="0"/>
            <a:t>REST, resource-centric</a:t>
          </a:r>
          <a:endParaRPr lang="en-US" dirty="0"/>
        </a:p>
      </dgm:t>
    </dgm:pt>
    <dgm:pt modelId="{1E731B29-67A7-4822-9229-E629DA6B0464}" type="parTrans" cxnId="{D938E3A1-AF94-4F4D-A225-AA10754688CD}">
      <dgm:prSet/>
      <dgm:spPr/>
      <dgm:t>
        <a:bodyPr/>
        <a:lstStyle/>
        <a:p>
          <a:endParaRPr lang="en-US"/>
        </a:p>
      </dgm:t>
    </dgm:pt>
    <dgm:pt modelId="{CE130D26-6856-4039-A6EE-90C66916BE64}" type="sibTrans" cxnId="{D938E3A1-AF94-4F4D-A225-AA10754688CD}">
      <dgm:prSet/>
      <dgm:spPr/>
      <dgm:t>
        <a:bodyPr/>
        <a:lstStyle/>
        <a:p>
          <a:endParaRPr lang="en-US"/>
        </a:p>
      </dgm:t>
    </dgm:pt>
    <dgm:pt modelId="{591EE327-CDCB-49F3-8AE5-1109FD1BB2DB}">
      <dgm:prSet phldrT="[Text]"/>
      <dgm:spPr/>
      <dgm:t>
        <a:bodyPr/>
        <a:lstStyle/>
        <a:p>
          <a:r>
            <a:rPr lang="en-US" dirty="0" smtClean="0"/>
            <a:t>Use </a:t>
          </a:r>
          <a:r>
            <a:rPr lang="en-US" dirty="0" err="1" smtClean="0"/>
            <a:t>SignalR</a:t>
          </a:r>
          <a:r>
            <a:rPr lang="en-US" dirty="0" smtClean="0"/>
            <a:t> for asynchronous signaling (polling, long-polling, </a:t>
          </a:r>
          <a:r>
            <a:rPr lang="en-US" dirty="0" err="1" smtClean="0"/>
            <a:t>WebSockets</a:t>
          </a:r>
          <a:r>
            <a:rPr lang="en-US" dirty="0" smtClean="0"/>
            <a:t>)</a:t>
          </a:r>
          <a:endParaRPr lang="en-US" dirty="0"/>
        </a:p>
      </dgm:t>
    </dgm:pt>
    <dgm:pt modelId="{2476335E-5328-4399-BFC2-3F573FB30030}" type="parTrans" cxnId="{31C384CB-4D22-40FB-95CD-0FBEDB2DC7B3}">
      <dgm:prSet/>
      <dgm:spPr/>
      <dgm:t>
        <a:bodyPr/>
        <a:lstStyle/>
        <a:p>
          <a:endParaRPr lang="en-US"/>
        </a:p>
      </dgm:t>
    </dgm:pt>
    <dgm:pt modelId="{761864A2-741A-4617-8D0D-C2E03C21BDC4}" type="sibTrans" cxnId="{31C384CB-4D22-40FB-95CD-0FBEDB2DC7B3}">
      <dgm:prSet/>
      <dgm:spPr/>
      <dgm:t>
        <a:bodyPr/>
        <a:lstStyle/>
        <a:p>
          <a:endParaRPr lang="en-US"/>
        </a:p>
      </dgm:t>
    </dgm:pt>
    <dgm:pt modelId="{80066836-629D-4447-BC9B-6290547F04C6}" type="pres">
      <dgm:prSet presAssocID="{36C18888-E6B3-4A3F-945F-46D62E3C85D0}" presName="Name0" presStyleCnt="0">
        <dgm:presLayoutVars>
          <dgm:dir/>
          <dgm:animLvl val="lvl"/>
          <dgm:resizeHandles val="exact"/>
        </dgm:presLayoutVars>
      </dgm:prSet>
      <dgm:spPr/>
      <dgm:t>
        <a:bodyPr/>
        <a:lstStyle/>
        <a:p>
          <a:endParaRPr lang="en-US"/>
        </a:p>
      </dgm:t>
    </dgm:pt>
    <dgm:pt modelId="{B0D32504-27CC-4C91-A891-ED0AF413ADD0}" type="pres">
      <dgm:prSet presAssocID="{B0C4A85A-E702-4E8E-9447-5AC9E2688E93}" presName="composite" presStyleCnt="0"/>
      <dgm:spPr/>
    </dgm:pt>
    <dgm:pt modelId="{F8789EDF-5455-4FD3-B800-A9981BAD921C}" type="pres">
      <dgm:prSet presAssocID="{B0C4A85A-E702-4E8E-9447-5AC9E2688E93}" presName="parTx" presStyleLbl="alignNode1" presStyleIdx="0" presStyleCnt="2">
        <dgm:presLayoutVars>
          <dgm:chMax val="0"/>
          <dgm:chPref val="0"/>
          <dgm:bulletEnabled val="1"/>
        </dgm:presLayoutVars>
      </dgm:prSet>
      <dgm:spPr/>
      <dgm:t>
        <a:bodyPr/>
        <a:lstStyle/>
        <a:p>
          <a:endParaRPr lang="en-US"/>
        </a:p>
      </dgm:t>
    </dgm:pt>
    <dgm:pt modelId="{565730E6-76D9-4992-B2E0-04BDA4E0175C}" type="pres">
      <dgm:prSet presAssocID="{B0C4A85A-E702-4E8E-9447-5AC9E2688E93}" presName="desTx" presStyleLbl="alignAccFollowNode1" presStyleIdx="0" presStyleCnt="2">
        <dgm:presLayoutVars>
          <dgm:bulletEnabled val="1"/>
        </dgm:presLayoutVars>
      </dgm:prSet>
      <dgm:spPr/>
      <dgm:t>
        <a:bodyPr/>
        <a:lstStyle/>
        <a:p>
          <a:endParaRPr lang="en-US"/>
        </a:p>
      </dgm:t>
    </dgm:pt>
    <dgm:pt modelId="{3A022004-51CA-4F97-A237-7ED1CCCE0B0D}" type="pres">
      <dgm:prSet presAssocID="{79323907-8858-4F49-B7B4-5B051247075B}" presName="space" presStyleCnt="0"/>
      <dgm:spPr/>
    </dgm:pt>
    <dgm:pt modelId="{B05C9545-89C1-4942-815E-A597570E7F7E}" type="pres">
      <dgm:prSet presAssocID="{91749CC0-3C52-4EF3-A6F1-13A55A766978}" presName="composite" presStyleCnt="0"/>
      <dgm:spPr/>
    </dgm:pt>
    <dgm:pt modelId="{ADB5FD3D-3BF3-46B4-95A4-25246B247C52}" type="pres">
      <dgm:prSet presAssocID="{91749CC0-3C52-4EF3-A6F1-13A55A766978}" presName="parTx" presStyleLbl="alignNode1" presStyleIdx="1" presStyleCnt="2">
        <dgm:presLayoutVars>
          <dgm:chMax val="0"/>
          <dgm:chPref val="0"/>
          <dgm:bulletEnabled val="1"/>
        </dgm:presLayoutVars>
      </dgm:prSet>
      <dgm:spPr/>
      <dgm:t>
        <a:bodyPr/>
        <a:lstStyle/>
        <a:p>
          <a:endParaRPr lang="en-US"/>
        </a:p>
      </dgm:t>
    </dgm:pt>
    <dgm:pt modelId="{3BBE0E96-597D-436E-85B6-BD788570DDC6}" type="pres">
      <dgm:prSet presAssocID="{91749CC0-3C52-4EF3-A6F1-13A55A766978}" presName="desTx" presStyleLbl="alignAccFollowNode1" presStyleIdx="1" presStyleCnt="2">
        <dgm:presLayoutVars>
          <dgm:bulletEnabled val="1"/>
        </dgm:presLayoutVars>
      </dgm:prSet>
      <dgm:spPr/>
      <dgm:t>
        <a:bodyPr/>
        <a:lstStyle/>
        <a:p>
          <a:endParaRPr lang="en-US"/>
        </a:p>
      </dgm:t>
    </dgm:pt>
  </dgm:ptLst>
  <dgm:cxnLst>
    <dgm:cxn modelId="{8757A0EB-880E-4CB2-AE47-4BD9472CA22A}" type="presOf" srcId="{22428B5E-4E48-4035-AFCD-518E49C6A393}" destId="{565730E6-76D9-4992-B2E0-04BDA4E0175C}" srcOrd="0" destOrd="3" presId="urn:microsoft.com/office/officeart/2005/8/layout/hList1"/>
    <dgm:cxn modelId="{D938E3A1-AF94-4F4D-A225-AA10754688CD}" srcId="{91749CC0-3C52-4EF3-A6F1-13A55A766978}" destId="{A616F9A7-C32B-4CA8-94D0-1A02A9016BF7}" srcOrd="4" destOrd="0" parTransId="{1E731B29-67A7-4822-9229-E629DA6B0464}" sibTransId="{CE130D26-6856-4039-A6EE-90C66916BE64}"/>
    <dgm:cxn modelId="{DA158D0D-1D97-4884-8F9E-B2AD44D0CA30}" type="presOf" srcId="{5BA3DD9C-73CD-49C5-81DE-88DE0C5B24C3}" destId="{3BBE0E96-597D-436E-85B6-BD788570DDC6}" srcOrd="0" destOrd="3" presId="urn:microsoft.com/office/officeart/2005/8/layout/hList1"/>
    <dgm:cxn modelId="{60B2724E-E73A-48A4-9B8E-3AD1E95D5271}" srcId="{91749CC0-3C52-4EF3-A6F1-13A55A766978}" destId="{1E308909-3458-4AFB-A2C7-D83858B4DFB6}" srcOrd="1" destOrd="0" parTransId="{6D85FC7D-F921-4876-ABB8-4EB0143E9F21}" sibTransId="{D2983B7B-5AF6-4B1E-B755-BF661F0FFF35}"/>
    <dgm:cxn modelId="{AAE2D74F-6FE5-4882-84B8-17B2334692BD}" type="presOf" srcId="{B0C4A85A-E702-4E8E-9447-5AC9E2688E93}" destId="{F8789EDF-5455-4FD3-B800-A9981BAD921C}" srcOrd="0" destOrd="0" presId="urn:microsoft.com/office/officeart/2005/8/layout/hList1"/>
    <dgm:cxn modelId="{0AD077E5-9937-40BF-A3FF-CA367CA0254C}" type="presOf" srcId="{F016B6E0-7631-403F-994D-767520C00FF6}" destId="{3BBE0E96-597D-436E-85B6-BD788570DDC6}" srcOrd="0" destOrd="2" presId="urn:microsoft.com/office/officeart/2005/8/layout/hList1"/>
    <dgm:cxn modelId="{925B7A20-3B62-45BE-BB6E-AEFB15A3B7AA}" type="presOf" srcId="{947EF703-BCB5-429B-A365-C1D3BBCB8891}" destId="{565730E6-76D9-4992-B2E0-04BDA4E0175C}" srcOrd="0" destOrd="0" presId="urn:microsoft.com/office/officeart/2005/8/layout/hList1"/>
    <dgm:cxn modelId="{BD0F863C-C562-489F-8EA1-C51912A50309}" type="presOf" srcId="{1E308909-3458-4AFB-A2C7-D83858B4DFB6}" destId="{3BBE0E96-597D-436E-85B6-BD788570DDC6}" srcOrd="0" destOrd="1" presId="urn:microsoft.com/office/officeart/2005/8/layout/hList1"/>
    <dgm:cxn modelId="{FC6E8F75-8D41-4652-802A-E6EA649A0538}" srcId="{B0C4A85A-E702-4E8E-9447-5AC9E2688E93}" destId="{418E581D-4D33-4D1C-8617-3D39338A2D02}" srcOrd="1" destOrd="0" parTransId="{00FF94DD-E3B6-4DE2-B951-EC68F2BBDDBF}" sibTransId="{75882FDE-E0A6-40D5-8D7D-8A9958B97388}"/>
    <dgm:cxn modelId="{E8F73402-67F4-426A-BF00-F0AD0E4C1C8A}" type="presOf" srcId="{A616F9A7-C32B-4CA8-94D0-1A02A9016BF7}" destId="{3BBE0E96-597D-436E-85B6-BD788570DDC6}" srcOrd="0" destOrd="4" presId="urn:microsoft.com/office/officeart/2005/8/layout/hList1"/>
    <dgm:cxn modelId="{FD9CAA52-82D7-493B-9D9C-0E901BFC91FD}" srcId="{36C18888-E6B3-4A3F-945F-46D62E3C85D0}" destId="{B0C4A85A-E702-4E8E-9447-5AC9E2688E93}" srcOrd="0" destOrd="0" parTransId="{4D41E08F-0657-44AC-983B-81671FD0F257}" sibTransId="{79323907-8858-4F49-B7B4-5B051247075B}"/>
    <dgm:cxn modelId="{0C52D2A6-4236-4F76-8196-2B9DAA5A46A4}" srcId="{B0C4A85A-E702-4E8E-9447-5AC9E2688E93}" destId="{0E2295DA-C222-4357-9DE0-3A4D5D69BB46}" srcOrd="2" destOrd="0" parTransId="{129FAEC2-A513-4C65-92EB-5461CB2BD132}" sibTransId="{BD5E5961-1A95-44A0-AA01-5AB0EF2B9CFA}"/>
    <dgm:cxn modelId="{D9A06823-0BFF-49F2-899F-EE56455DEB7F}" type="presOf" srcId="{0E2295DA-C222-4357-9DE0-3A4D5D69BB46}" destId="{565730E6-76D9-4992-B2E0-04BDA4E0175C}" srcOrd="0" destOrd="2" presId="urn:microsoft.com/office/officeart/2005/8/layout/hList1"/>
    <dgm:cxn modelId="{AE08A043-CDE3-4289-9718-1F724EB0CD12}" srcId="{36C18888-E6B3-4A3F-945F-46D62E3C85D0}" destId="{91749CC0-3C52-4EF3-A6F1-13A55A766978}" srcOrd="1" destOrd="0" parTransId="{036D4F46-38B1-496E-9951-D70F7AA21544}" sibTransId="{FB9BA4AF-673A-4517-9444-4BCF97DB0F3F}"/>
    <dgm:cxn modelId="{DECCA291-2F79-4239-A721-F8171422C5EC}" srcId="{B0C4A85A-E702-4E8E-9447-5AC9E2688E93}" destId="{22428B5E-4E48-4035-AFCD-518E49C6A393}" srcOrd="3" destOrd="0" parTransId="{543E335F-4F36-4A80-A3E8-009DC0C04C78}" sibTransId="{363C7E6F-AD7A-466A-8DFF-172FD6232AF6}"/>
    <dgm:cxn modelId="{9BDB124F-8D93-4EF6-87C1-8B865D70A1E4}" srcId="{91749CC0-3C52-4EF3-A6F1-13A55A766978}" destId="{9F17B568-3C34-45ED-A463-5B7BAA9AC5B2}" srcOrd="0" destOrd="0" parTransId="{CD39A284-CFAC-4D13-97E6-D48FD951B35E}" sibTransId="{ED5F0BE5-F7B4-4A15-B1DB-FC304E290A33}"/>
    <dgm:cxn modelId="{12BF631F-40D8-4FF3-A3C3-889E101D40AB}" type="presOf" srcId="{418E581D-4D33-4D1C-8617-3D39338A2D02}" destId="{565730E6-76D9-4992-B2E0-04BDA4E0175C}" srcOrd="0" destOrd="1" presId="urn:microsoft.com/office/officeart/2005/8/layout/hList1"/>
    <dgm:cxn modelId="{975AE904-35F1-4EE4-A7B8-736375C02897}" type="presOf" srcId="{E1662A7E-04FF-42B4-A97C-CC5B741006FA}" destId="{565730E6-76D9-4992-B2E0-04BDA4E0175C}" srcOrd="0" destOrd="5" presId="urn:microsoft.com/office/officeart/2005/8/layout/hList1"/>
    <dgm:cxn modelId="{31C384CB-4D22-40FB-95CD-0FBEDB2DC7B3}" srcId="{91749CC0-3C52-4EF3-A6F1-13A55A766978}" destId="{591EE327-CDCB-49F3-8AE5-1109FD1BB2DB}" srcOrd="5" destOrd="0" parTransId="{2476335E-5328-4399-BFC2-3F573FB30030}" sibTransId="{761864A2-741A-4617-8D0D-C2E03C21BDC4}"/>
    <dgm:cxn modelId="{F32D62B4-F8FE-4608-AD7E-DA4E07857AED}" type="presOf" srcId="{D6EDBDD1-686E-41B7-B79B-13D35C4D7776}" destId="{565730E6-76D9-4992-B2E0-04BDA4E0175C}" srcOrd="0" destOrd="4" presId="urn:microsoft.com/office/officeart/2005/8/layout/hList1"/>
    <dgm:cxn modelId="{C358707F-B9E4-4E80-9324-C74C16E0C214}" srcId="{B0C4A85A-E702-4E8E-9447-5AC9E2688E93}" destId="{E1662A7E-04FF-42B4-A97C-CC5B741006FA}" srcOrd="5" destOrd="0" parTransId="{41D0A000-A944-47DA-9E8D-A7693EAC4EA5}" sibTransId="{8278A8A6-59EF-4F4C-A1B6-1120D1EC2E42}"/>
    <dgm:cxn modelId="{5F820396-A2A5-4E4E-87C2-331F7734344D}" type="presOf" srcId="{36C18888-E6B3-4A3F-945F-46D62E3C85D0}" destId="{80066836-629D-4447-BC9B-6290547F04C6}" srcOrd="0" destOrd="0" presId="urn:microsoft.com/office/officeart/2005/8/layout/hList1"/>
    <dgm:cxn modelId="{A80F809C-57D2-4EB9-A448-2893662E89BF}" srcId="{91749CC0-3C52-4EF3-A6F1-13A55A766978}" destId="{5BA3DD9C-73CD-49C5-81DE-88DE0C5B24C3}" srcOrd="3" destOrd="0" parTransId="{6C7F887F-D91A-43D2-90FE-8C8F0805935D}" sibTransId="{9292A80B-E2C2-4850-9473-855E6F8DDF6C}"/>
    <dgm:cxn modelId="{D8BED489-B8D9-4BEA-8B55-42A8BF514432}" srcId="{B0C4A85A-E702-4E8E-9447-5AC9E2688E93}" destId="{D6EDBDD1-686E-41B7-B79B-13D35C4D7776}" srcOrd="4" destOrd="0" parTransId="{8630CBB8-F8A3-4EF1-A9E1-C96798F4CFE8}" sibTransId="{13E80E52-65D4-473D-8D6D-7D1E42A6A95D}"/>
    <dgm:cxn modelId="{14EE950F-2F4D-43FF-9002-F429C3DDFA02}" type="presOf" srcId="{9F17B568-3C34-45ED-A463-5B7BAA9AC5B2}" destId="{3BBE0E96-597D-436E-85B6-BD788570DDC6}" srcOrd="0" destOrd="0" presId="urn:microsoft.com/office/officeart/2005/8/layout/hList1"/>
    <dgm:cxn modelId="{4DD41568-B056-4E1B-8665-C8701181A3DD}" type="presOf" srcId="{591EE327-CDCB-49F3-8AE5-1109FD1BB2DB}" destId="{3BBE0E96-597D-436E-85B6-BD788570DDC6}" srcOrd="0" destOrd="5" presId="urn:microsoft.com/office/officeart/2005/8/layout/hList1"/>
    <dgm:cxn modelId="{77C542A1-BA68-4EFB-BAC4-9D70FF84BCAB}" srcId="{B0C4A85A-E702-4E8E-9447-5AC9E2688E93}" destId="{947EF703-BCB5-429B-A365-C1D3BBCB8891}" srcOrd="0" destOrd="0" parTransId="{CE1224C9-71D3-42B3-8BB9-3DA65496B81D}" sibTransId="{C473EAB2-66C4-4030-9FD7-E8B3D2D3E022}"/>
    <dgm:cxn modelId="{4281BBA6-6DBC-4705-BC3A-99E1228A114B}" srcId="{91749CC0-3C52-4EF3-A6F1-13A55A766978}" destId="{F016B6E0-7631-403F-994D-767520C00FF6}" srcOrd="2" destOrd="0" parTransId="{2D12CAE3-AFA4-4BCF-9C46-30A5159A50F3}" sibTransId="{6026073D-37B9-4916-922A-142DD2670D9B}"/>
    <dgm:cxn modelId="{4D3B1D05-B35F-4C60-A0BC-4D4ED12790D9}" type="presOf" srcId="{91749CC0-3C52-4EF3-A6F1-13A55A766978}" destId="{ADB5FD3D-3BF3-46B4-95A4-25246B247C52}" srcOrd="0" destOrd="0" presId="urn:microsoft.com/office/officeart/2005/8/layout/hList1"/>
    <dgm:cxn modelId="{650DCB81-A08B-4CFD-AE8E-C9C6190A8EB5}" type="presParOf" srcId="{80066836-629D-4447-BC9B-6290547F04C6}" destId="{B0D32504-27CC-4C91-A891-ED0AF413ADD0}" srcOrd="0" destOrd="0" presId="urn:microsoft.com/office/officeart/2005/8/layout/hList1"/>
    <dgm:cxn modelId="{BF377347-9EC7-4522-882B-1E6B190F2405}" type="presParOf" srcId="{B0D32504-27CC-4C91-A891-ED0AF413ADD0}" destId="{F8789EDF-5455-4FD3-B800-A9981BAD921C}" srcOrd="0" destOrd="0" presId="urn:microsoft.com/office/officeart/2005/8/layout/hList1"/>
    <dgm:cxn modelId="{11399DFB-BDC4-450E-87FD-76B28F53EF13}" type="presParOf" srcId="{B0D32504-27CC-4C91-A891-ED0AF413ADD0}" destId="{565730E6-76D9-4992-B2E0-04BDA4E0175C}" srcOrd="1" destOrd="0" presId="urn:microsoft.com/office/officeart/2005/8/layout/hList1"/>
    <dgm:cxn modelId="{FFC818DB-02E0-432B-BF62-4C17070A2844}" type="presParOf" srcId="{80066836-629D-4447-BC9B-6290547F04C6}" destId="{3A022004-51CA-4F97-A237-7ED1CCCE0B0D}" srcOrd="1" destOrd="0" presId="urn:microsoft.com/office/officeart/2005/8/layout/hList1"/>
    <dgm:cxn modelId="{E01DE1F4-EB85-4CA5-8844-E3C4B353DD76}" type="presParOf" srcId="{80066836-629D-4447-BC9B-6290547F04C6}" destId="{B05C9545-89C1-4942-815E-A597570E7F7E}" srcOrd="2" destOrd="0" presId="urn:microsoft.com/office/officeart/2005/8/layout/hList1"/>
    <dgm:cxn modelId="{063EA6B1-9563-4D45-83CF-A825AD83923A}" type="presParOf" srcId="{B05C9545-89C1-4942-815E-A597570E7F7E}" destId="{ADB5FD3D-3BF3-46B4-95A4-25246B247C52}" srcOrd="0" destOrd="0" presId="urn:microsoft.com/office/officeart/2005/8/layout/hList1"/>
    <dgm:cxn modelId="{987C75DE-14C5-4A12-AB72-803C473369AF}" type="presParOf" srcId="{B05C9545-89C1-4942-815E-A597570E7F7E}" destId="{3BBE0E96-597D-436E-85B6-BD788570DDC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789EDF-5455-4FD3-B800-A9981BAD921C}">
      <dsp:nvSpPr>
        <dsp:cNvPr id="0" name=""/>
        <dsp:cNvSpPr/>
      </dsp:nvSpPr>
      <dsp:spPr>
        <a:xfrm>
          <a:off x="39"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WCF</a:t>
          </a:r>
          <a:endParaRPr lang="en-US" sz="2000" kern="1200" dirty="0"/>
        </a:p>
      </dsp:txBody>
      <dsp:txXfrm>
        <a:off x="39" y="170233"/>
        <a:ext cx="3797104" cy="576000"/>
      </dsp:txXfrm>
    </dsp:sp>
    <dsp:sp modelId="{565730E6-76D9-4992-B2E0-04BDA4E0175C}">
      <dsp:nvSpPr>
        <dsp:cNvPr id="0" name=""/>
        <dsp:cNvSpPr/>
      </dsp:nvSpPr>
      <dsp:spPr>
        <a:xfrm>
          <a:off x="39"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Back-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SOAP, WS-*</a:t>
          </a:r>
          <a:endParaRPr lang="en-US" sz="2000" kern="1200" dirty="0"/>
        </a:p>
        <a:p>
          <a:pPr marL="228600" lvl="1" indent="-228600" algn="l" defTabSz="889000">
            <a:lnSpc>
              <a:spcPct val="90000"/>
            </a:lnSpc>
            <a:spcBef>
              <a:spcPct val="0"/>
            </a:spcBef>
            <a:spcAft>
              <a:spcPct val="15000"/>
            </a:spcAft>
            <a:buChar char="••"/>
          </a:pPr>
          <a:r>
            <a:rPr lang="en-US" sz="2000" kern="1200" dirty="0" smtClean="0"/>
            <a:t>Transports: HTTP, TCP, UDP, Queues, </a:t>
          </a:r>
          <a:r>
            <a:rPr lang="en-US" sz="2000" kern="1200" dirty="0" err="1" smtClean="0"/>
            <a:t>WebSockets</a:t>
          </a:r>
          <a:r>
            <a:rPr lang="en-US" sz="2000" kern="1200" dirty="0" smtClean="0"/>
            <a:t>,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Message patterns: request-reply, one-way, duplex</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Web HTTP to add HTTP endpoints to existing WCF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Data Services for full </a:t>
          </a:r>
          <a:r>
            <a:rPr lang="en-US" sz="2000" kern="1200" dirty="0" err="1" smtClean="0"/>
            <a:t>OData</a:t>
          </a:r>
          <a:r>
            <a:rPr lang="en-US" sz="2000" kern="1200" dirty="0" smtClean="0"/>
            <a:t> support</a:t>
          </a:r>
          <a:endParaRPr lang="en-US" sz="2000" kern="1200" dirty="0"/>
        </a:p>
      </dsp:txBody>
      <dsp:txXfrm>
        <a:off x="39" y="746233"/>
        <a:ext cx="3797104" cy="3952799"/>
      </dsp:txXfrm>
    </dsp:sp>
    <dsp:sp modelId="{ADB5FD3D-3BF3-46B4-95A4-25246B247C52}">
      <dsp:nvSpPr>
        <dsp:cNvPr id="0" name=""/>
        <dsp:cNvSpPr/>
      </dsp:nvSpPr>
      <dsp:spPr>
        <a:xfrm>
          <a:off x="4328738"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ASP.NET Web API</a:t>
          </a:r>
          <a:endParaRPr lang="en-US" sz="2000" kern="1200" dirty="0"/>
        </a:p>
      </dsp:txBody>
      <dsp:txXfrm>
        <a:off x="4328738" y="170233"/>
        <a:ext cx="3797104" cy="576000"/>
      </dsp:txXfrm>
    </dsp:sp>
    <dsp:sp modelId="{3BBE0E96-597D-436E-85B6-BD788570DDC6}">
      <dsp:nvSpPr>
        <dsp:cNvPr id="0" name=""/>
        <dsp:cNvSpPr/>
      </dsp:nvSpPr>
      <dsp:spPr>
        <a:xfrm>
          <a:off x="4328738"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Front-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Media Types: JSON, XML, form-URL-encoded,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HTTP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quest-reply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ST, resource-centric</a:t>
          </a:r>
          <a:endParaRPr lang="en-US" sz="2000" kern="1200" dirty="0"/>
        </a:p>
        <a:p>
          <a:pPr marL="228600" lvl="1" indent="-228600" algn="l" defTabSz="889000">
            <a:lnSpc>
              <a:spcPct val="90000"/>
            </a:lnSpc>
            <a:spcBef>
              <a:spcPct val="0"/>
            </a:spcBef>
            <a:spcAft>
              <a:spcPct val="15000"/>
            </a:spcAft>
            <a:buChar char="••"/>
          </a:pPr>
          <a:r>
            <a:rPr lang="en-US" sz="2000" kern="1200" dirty="0" smtClean="0"/>
            <a:t>Use </a:t>
          </a:r>
          <a:r>
            <a:rPr lang="en-US" sz="2000" kern="1200" dirty="0" err="1" smtClean="0"/>
            <a:t>SignalR</a:t>
          </a:r>
          <a:r>
            <a:rPr lang="en-US" sz="2000" kern="1200" dirty="0" smtClean="0"/>
            <a:t> for asynchronous signaling (polling, long-polling, </a:t>
          </a:r>
          <a:r>
            <a:rPr lang="en-US" sz="2000" kern="1200" dirty="0" err="1" smtClean="0"/>
            <a:t>WebSockets</a:t>
          </a:r>
          <a:r>
            <a:rPr lang="en-US" sz="2000" kern="1200" dirty="0" smtClean="0"/>
            <a:t>)</a:t>
          </a:r>
          <a:endParaRPr lang="en-US" sz="2000" kern="1200" dirty="0"/>
        </a:p>
      </dsp:txBody>
      <dsp:txXfrm>
        <a:off x="4328738" y="746233"/>
        <a:ext cx="3797104" cy="395279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Relationships xmlns="http://schemas.openxmlformats.org/package/2006/relationships"><Relationship Type="http://schemas.openxmlformats.org/officeDocument/2006/relationships/image" Target="../media/image7.png" Id="rId3" /><Relationship Type="http://schemas.openxmlformats.org/officeDocument/2006/relationships/slideLayout" Target="../slideLayouts/slideLayout6.xml" Id="rId1" /><Relationship Type="http://schemas.openxmlformats.org/officeDocument/2006/relationships/image" Target="../media/image8.png" Id="rId4" /></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Layout" Target="../slideLayouts/slideLayout3.xml"/><Relationship Id="rId4" Type="http://schemas.openxmlformats.org/officeDocument/2006/relationships/tags" Target="../tags/tag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8.xml.rels>&#65279;<?xml version="1.0" encoding="utf-8"?><Relationships xmlns="http://schemas.openxmlformats.org/package/2006/relationships"><Relationship Type="http://schemas.openxmlformats.org/officeDocument/2006/relationships/tags" Target="../tags/tag25.xml" Id="rId3" /><Relationship Type="http://schemas.openxmlformats.org/officeDocument/2006/relationships/image" Target="../media/image9.emf" Id="rId7" /><Relationship Type="http://schemas.openxmlformats.org/officeDocument/2006/relationships/tags" Target="../tags/tag24.xml" Id="rId2" /><Relationship Type="http://schemas.openxmlformats.org/officeDocument/2006/relationships/vmlDrawing" Target="../drawings/vmlDrawing9.vml" Id="rId1" /><Relationship Type="http://schemas.openxmlformats.org/officeDocument/2006/relationships/oleObject" Target="../embeddings/oleObject9.bin" Id="rId6" /><Relationship Type="http://schemas.openxmlformats.org/officeDocument/2006/relationships/slideLayout" Target="../slideLayouts/slideLayout10.xml" Id="rId4" /></Relationships>
</file>

<file path=ppt/slides/_rels/slide19.xml.rels>&#65279;<?xml version="1.0" encoding="utf-8"?><Relationships xmlns="http://schemas.openxmlformats.org/package/2006/relationships"><Relationship Type="http://schemas.openxmlformats.org/officeDocument/2006/relationships/slideLayout" Target="../slideLayouts/slideLayout11.xml" Id="rId1" /></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65279;<?xml version="1.0" encoding="utf-8"?><Relationships xmlns="http://schemas.openxmlformats.org/package/2006/relationships"><Relationship Type="http://schemas.openxmlformats.org/officeDocument/2006/relationships/slideLayout" Target="../slideLayouts/slideLayout12.xml" Id="rId1" /></Relationships>
</file>

<file path=ppt/slides/_rels/slide21.xml.rels><?xml version="1.0" encoding="UTF-8" standalone="yes"?>
<Relationships xmlns="http://schemas.openxmlformats.org/package/2006/relationships"><Relationship Id="rId8" Type="http://schemas.openxmlformats.org/officeDocument/2006/relationships/hyperlink" Target="http://bldw.in/SessionFeedback" TargetMode="External"/><Relationship Id="rId3" Type="http://schemas.openxmlformats.org/officeDocument/2006/relationships/tags" Target="../tags/tag27.xml"/><Relationship Id="rId7" Type="http://schemas.openxmlformats.org/officeDocument/2006/relationships/hyperlink" Target="http://forums.dev.windows.com/" TargetMode="External"/><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8.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slideLayout" Target="../slideLayouts/slideLayout6.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Layout" Target="../slideLayouts/slideLayout3.xml"/><Relationship Id="rId4" Type="http://schemas.openxmlformats.org/officeDocument/2006/relationships/tags" Target="../tags/tag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 Using </a:t>
            </a:r>
            <a:r>
              <a:rPr lang="en-US" sz="4800" dirty="0" err="1" smtClean="0"/>
              <a:t>Global.asax.cs</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9789148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8940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4" y="1447800"/>
            <a:ext cx="4785995" cy="1523494"/>
          </a:xfrm>
        </p:spPr>
        <p:txBody>
          <a:bodyPr/>
          <a:lstStyle/>
          <a:p>
            <a:r>
              <a:rPr lang="en-US" dirty="0" smtClean="0"/>
              <a:t>Introduction to ASP.NET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3801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889124" y="1447800"/>
            <a:ext cx="4511675" cy="1833282"/>
          </a:xfrm>
        </p:spPr>
        <p:txBody>
          <a:bodyPr/>
          <a:lstStyle/>
          <a:p>
            <a:r>
              <a:rPr lang="en-US" dirty="0" smtClean="0"/>
              <a:t>MVC SPA template uses </a:t>
            </a:r>
            <a:r>
              <a:rPr lang="en-US" dirty="0" err="1" smtClean="0"/>
              <a:t>WebAPI</a:t>
            </a:r>
            <a:endParaRPr lang="en-CA" dirty="0"/>
          </a:p>
        </p:txBody>
      </p:sp>
      <p:sp>
        <p:nvSpPr>
          <p:cNvPr id="7" name="Subtitle 6"/>
          <p:cNvSpPr>
            <a:spLocks noGrp="1"/>
          </p:cNvSpPr>
          <p:nvPr>
            <p:ph type="subTitle" idx="1"/>
          </p:nvPr>
        </p:nvSpPr>
        <p:spPr/>
        <p:txBody>
          <a:bodyPr/>
          <a:lstStyle/>
          <a:p>
            <a:endParaRPr lang="en-CA"/>
          </a:p>
        </p:txBody>
      </p:sp>
      <p:sp>
        <p:nvSpPr>
          <p:cNvPr id="8" name="Text Placeholder 7"/>
          <p:cNvSpPr>
            <a:spLocks noGrp="1"/>
          </p:cNvSpPr>
          <p:nvPr>
            <p:ph type="body" sz="quarter" idx="10"/>
          </p:nvPr>
        </p:nvSpPr>
        <p:spPr/>
        <p:txBody>
          <a:bodyPr/>
          <a:lstStyle/>
          <a:p>
            <a:r>
              <a:rPr lang="en-US" dirty="0" smtClean="0"/>
              <a:t>Demo</a:t>
            </a:r>
            <a:endParaRPr lang="en-CA" dirty="0"/>
          </a:p>
        </p:txBody>
      </p:sp>
    </p:spTree>
    <p:extLst>
      <p:ext uri="{BB962C8B-B14F-4D97-AF65-F5344CB8AC3E}">
        <p14:creationId xmlns:p14="http://schemas.microsoft.com/office/powerpoint/2010/main" val="26108866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a:xfrm>
            <a:off x="519113" y="537434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Windows Store Apps Talk to </a:t>
            </a:r>
            <a:r>
              <a:rPr lang="en-US" dirty="0" err="1" smtClean="0"/>
              <a:t>WebAPI</a:t>
            </a:r>
            <a:endParaRPr lang="en-CA" dirty="0"/>
          </a:p>
        </p:txBody>
      </p:sp>
      <p:sp>
        <p:nvSpPr>
          <p:cNvPr id="6" name="Subtitle 5"/>
          <p:cNvSpPr>
            <a:spLocks noGrp="1"/>
          </p:cNvSpPr>
          <p:nvPr>
            <p:ph type="subTitle" idx="1"/>
          </p:nvPr>
        </p:nvSpPr>
        <p:spPr/>
        <p:txBody>
          <a:bodyPr/>
          <a:lstStyle/>
          <a:p>
            <a:endParaRPr lang="en-CA"/>
          </a:p>
        </p:txBody>
      </p:sp>
      <p:sp>
        <p:nvSpPr>
          <p:cNvPr id="7" name="Text Placeholder 6"/>
          <p:cNvSpPr>
            <a:spLocks noGrp="1"/>
          </p:cNvSpPr>
          <p:nvPr>
            <p:ph type="body" sz="quarter" idx="10"/>
          </p:nvPr>
        </p:nvSpPr>
        <p:spPr/>
        <p:txBody>
          <a:bodyPr/>
          <a:lstStyle/>
          <a:p>
            <a:r>
              <a:rPr lang="en-US" dirty="0" smtClean="0"/>
              <a:t>Demo</a:t>
            </a:r>
            <a:endParaRPr lang="en-CA" dirty="0"/>
          </a:p>
        </p:txBody>
      </p:sp>
    </p:spTree>
    <p:extLst>
      <p:ext uri="{BB962C8B-B14F-4D97-AF65-F5344CB8AC3E}">
        <p14:creationId xmlns:p14="http://schemas.microsoft.com/office/powerpoint/2010/main" val="7712036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7"/>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8"/>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82343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arison of WCF &amp; ASP.NET Web API</a:t>
            </a:r>
            <a:endParaRPr lang="en-US" dirty="0"/>
          </a:p>
        </p:txBody>
      </p:sp>
      <p:graphicFrame>
        <p:nvGraphicFramePr>
          <p:cNvPr id="9" name="Diagram 8"/>
          <p:cNvGraphicFramePr/>
          <p:nvPr>
            <p:extLst/>
          </p:nvPr>
        </p:nvGraphicFramePr>
        <p:xfrm>
          <a:off x="2031471" y="1268360"/>
          <a:ext cx="8125883" cy="4869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59920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261360" y="2171588"/>
            <a:ext cx="8717280" cy="3490186"/>
          </a:xfrm>
        </p:spPr>
        <p:txBody>
          <a:bodyPr/>
          <a:lstStyle/>
          <a:p>
            <a:r>
              <a:rPr lang="en-US" sz="4200" dirty="0" smtClean="0"/>
              <a:t>How does ASP.NET Web API fit in?</a:t>
            </a:r>
          </a:p>
          <a:p>
            <a:r>
              <a:rPr lang="en-US" sz="4200" dirty="0" smtClean="0"/>
              <a:t>Introduction to Web API</a:t>
            </a:r>
          </a:p>
          <a:p>
            <a:r>
              <a:rPr lang="en-US" sz="4200" dirty="0" smtClean="0"/>
              <a:t>Consuming Web API from jQuery</a:t>
            </a:r>
          </a:p>
          <a:p>
            <a:r>
              <a:rPr lang="en-US" sz="4200" dirty="0" smtClean="0"/>
              <a:t>Consuming Web API from Windows 8</a:t>
            </a:r>
            <a:endParaRPr lang="en-US" sz="4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2" name="Group 1"/>
          <p:cNvGrpSpPr/>
          <p:nvPr/>
        </p:nvGrpSpPr>
        <p:grpSpPr>
          <a:xfrm>
            <a:off x="9889114" y="1703024"/>
            <a:ext cx="1433010" cy="2634084"/>
            <a:chOff x="9889114" y="1703024"/>
            <a:chExt cx="1433010" cy="2634084"/>
          </a:xfrm>
        </p:grpSpPr>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purl.org/dc/dcmitype/"/>
    <ds:schemaRef ds:uri="http://schemas.microsoft.com/office/infopath/2007/PartnerControls"/>
    <ds:schemaRef ds:uri="230e9df3-be65-4c73-a93b-d1236ebd677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61</TotalTime>
  <Words>868</Words>
  <Application>Microsoft Office PowerPoint</Application>
  <PresentationFormat>Custom</PresentationFormat>
  <Paragraphs>210</Paragraphs>
  <Slides>24</Slides>
  <Notes>4</Notes>
  <HiddenSlides>3</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Segoe UI Light</vt:lpstr>
      <vt:lpstr>Segoe UI</vt:lpstr>
      <vt:lpstr>Arial</vt:lpstr>
      <vt:lpstr>Consolas</vt:lpstr>
      <vt:lpstr>Segoe Light</vt:lpstr>
      <vt:lpstr>MS1444_Windows Azure Template 16x9_r08b</vt:lpstr>
      <vt:lpstr>White with Consolas font for code slides</vt:lpstr>
      <vt:lpstr>think-cell Slide</vt:lpstr>
      <vt:lpstr>WebCamps Online</vt:lpstr>
      <vt:lpstr>Building a Service Layer  with ASP.NET Web API</vt:lpstr>
      <vt:lpstr>Agenda </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Routing a Web API Using Global.asax.cs</vt:lpstr>
      <vt:lpstr>Manipulating HTTP Responses</vt:lpstr>
      <vt:lpstr>Manipulating HTTP Responses</vt:lpstr>
      <vt:lpstr>Manipulating HTTP Responses</vt:lpstr>
      <vt:lpstr>Making an API Updatable</vt:lpstr>
      <vt:lpstr>Posting Data to a Web API</vt:lpstr>
      <vt:lpstr>Posting Data to a Web API</vt:lpstr>
      <vt:lpstr>Introduction to ASP.NET Web API</vt:lpstr>
      <vt:lpstr>MVC SPA template uses WebAPI</vt:lpstr>
      <vt:lpstr>Windows Store Apps Talk to WebAPI</vt:lpstr>
      <vt:lpstr>Resources</vt:lpstr>
      <vt:lpstr>PowerPoint Presentation</vt:lpstr>
      <vt:lpstr>Web API is a part of ASP.NET</vt:lpstr>
      <vt:lpstr>Comparison of WCF &amp; ASP.NET Web API</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with ASP.NET Web API</dc:title>
  <dc:subject>Windows Azure</dc:subject>
  <dc:creator>Jon Galloway</dc:creator>
  <dc:description>
    Your web applications can do a lot more than serve HTML to browsers. With ASP.NET Web API, you can easily provide powerful services in a variety of formats (including XML and JSON) without your having to fight with formats, plumbing code, and configuration. ASP.NET Web API was designed to help you leverage the HTTP protocol, so you can build services the right way minimal effort. You'll see how you can take make use of these services to power devices and apps as well as cutting edge Ajax clients.
by Jon Gallowayjon.galloway@microsoft.com
http://weblogs.asp.net/jgalloway
</dc:description>
  <cp:lastModifiedBy>Jon Galloway</cp:lastModifiedBy>
  <cp:revision>332</cp:revision>
  <cp:lastPrinted>2011-10-11T14:25:22Z</cp:lastPrinted>
  <dcterms:created xsi:type="dcterms:W3CDTF">2011-03-29T16:07:22Z</dcterms:created>
  <dcterms:modified xsi:type="dcterms:W3CDTF">2012-12-21T07:15:18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